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114" r:id="rId4"/>
  </p:sldMasterIdLst>
  <p:notesMasterIdLst>
    <p:notesMasterId r:id="rId6"/>
  </p:notesMasterIdLst>
  <p:handoutMasterIdLst>
    <p:handoutMasterId r:id="rId7"/>
  </p:handoutMasterIdLst>
  <p:sldIdLst>
    <p:sldId id="286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F9D803-EAC1-1AA3-2281-34E69E597C78}" name="Hannah Hopkins (Mulcahy Consulting Inc)" initials="HH" userId="S::v-hhopkins@microsoft.com::41ad460d-3a92-437a-8db1-5b068207d67e" providerId="AD"/>
  <p188:author id="{68F95D0D-0218-923E-ABAD-EC4D73DDC450}" name="Scott Adams" initials="" userId="S::scadam@microsoft.com::2e0bb53a-50f4-4ef4-b3ed-4327e607901e" providerId="AD"/>
  <p188:author id="{5A02B80E-149C-7DFD-4E8D-3782118F40E7}" name="Alicia Peterson (NAYAMODE INC)" initials="AP" userId="S::v-petersonal@microsoft.com::f8898314-5523-4930-acf0-2b563b2b4dc9" providerId="AD"/>
  <p188:author id="{510D8F14-A022-0A99-8116-51D39974EA9F}" name="Anne Fernando" initials="AF" userId="S::anfern@microsoft.com::c02b9aa4-0131-48a6-ac5f-35d8d38dc7d1" providerId="AD"/>
  <p188:author id="{E7FE3741-CC67-CB32-C8DC-B87A1AF6B124}" name="Caitlin Odame" initials="CO" userId="S::caitlinodame@microsoft.com::7a244b68-dea7-4f6e-b5de-4621d24877e6" providerId="AD"/>
  <p188:author id="{8CCDF05C-9913-2C10-7BD5-0DD63B55DE99}" name="Vid Chari" initials="VC" userId="S::vichari@microsoft.com::9217d3af-3a1e-4c18-ba25-206cd1ddbcfa" providerId="AD"/>
  <p188:author id="{F7D53E64-ED34-8FD0-F86B-BD1774EAC744}" name="Racheal Skoko" initials="RS" userId="S::racheal@theodigogroup.com::21cdd38b-926c-455d-b625-c1a87f1ae0ea" providerId="AD"/>
  <p188:author id="{66E121CC-5CF3-0202-0B4D-DF1DDF1CFCA2}" name="Kerry Cobb" initials="KC" userId="S::kerry_theodigogroup.com#ext#@microsoft.onmicrosoft.com::89f3f33f-3c42-4fdd-ae26-4995b5776285" providerId="AD"/>
  <p188:author id="{1A65CFCC-B693-3F3F-8805-0538B4F8FE19}" name="Kate Moran (BEYONDSOFT CONSULTING INC)" initials="KI" userId="S::v-katemoran@microsoft.com::859a87ad-c469-4d9a-af8d-9400eb431709" providerId="AD"/>
  <p188:author id="{0A5C98D6-64E3-C859-C3CF-A788E99B286A}" name="Paula Costa" initials="PC" userId="S::paulaco@microsoft.com::6168b8aa-f64d-4741-99ae-b8d2d3488c7f" providerId="AD"/>
  <p188:author id="{16B3E6EB-1235-FCC0-D390-6DB61CAD54BA}" name="Ambreen Hassan" initials="AH" userId="S::amhassan@microsoft.com::defa224d-8c47-4a24-8c98-cc74beae06fc" providerId="AD"/>
  <p188:author id="{D253CFEC-7516-56CF-432D-70693E42080D}" name="Sydney Ackerman" initials="SA" userId="S::sydney_theodigogroup.com#ext#@microsoft.onmicrosoft.com::55db1ce8-f7bb-4886-a9d4-3b42afb92a00" providerId="AD"/>
  <p188:author id="{BC6CF3F0-B8ED-5DB7-0746-03965B370AE5}" name="Louise Morgan" initials="LM" userId="S::louise@theodigogroup.com::f3afb773-4931-4b67-8a9f-eef20a768a93" providerId="AD"/>
  <p188:author id="{E01801F9-EC84-843F-DDA3-5B0457DF3F26}" name="Reamonn Stynes" initials="" userId="S::restynes@microsoft.com::018d4f0e-4d83-491e-a225-fa06509ca0f2" providerId="AD"/>
  <p188:author id="{D16FA4FC-7EB5-3576-422F-5F849579F02F}" name="Sydney Ackerman (Mulcahy Consulting Inc)" initials="SA" userId="S::v-syackerman@microsoft.com::19537266-43a7-47bd-ad6c-9608d4e35a7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41CC"/>
    <a:srgbClr val="000000"/>
    <a:srgbClr val="E6E6E6"/>
    <a:srgbClr val="313131"/>
    <a:srgbClr val="2A446F"/>
    <a:srgbClr val="FEA874"/>
    <a:srgbClr val="2DB4FF"/>
    <a:srgbClr val="152A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3" autoAdjust="0"/>
    <p:restoredTop sz="94660"/>
  </p:normalViewPr>
  <p:slideViewPr>
    <p:cSldViewPr snapToGrid="0">
      <p:cViewPr varScale="1">
        <p:scale>
          <a:sx n="55" d="100"/>
          <a:sy n="55" d="100"/>
        </p:scale>
        <p:origin x="1308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6E62D67-21B7-C36B-1131-8066E0E99E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7FC0B3-5352-58D8-A83C-4AE888D3413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F94C92-970F-4CE9-BED7-0AD0CD42FBF6}" type="datetimeFigureOut">
              <a:rPr lang="en-US" smtClean="0"/>
              <a:t>5/29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5829F1-ADA2-535A-8219-4A1CBB62EB6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30B519-0615-0606-82F6-CC4ACA8C920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18B0CB-C2CC-4D98-B48F-C7B883BDF8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38350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409CC4-E296-4139-BF30-DF6AE28F24B8}" type="datetimeFigureOut">
              <a:rPr lang="en-GB" smtClean="0"/>
              <a:t>29/05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416CC2-86DA-43DA-AE05-04363E303DD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6526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DE668F-C70A-63A0-48D6-1A39A409BA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0D52CE-1E40-57A4-0024-79B85D41BA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705BC5-D455-2264-C9FE-74E1A46036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DFEA66-8C52-76F8-DF90-0B12C28278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416CC2-86DA-43DA-AE05-04363E303DDB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125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– B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-up of a computer screen&#10;&#10;AI-generated content may be incorrect.">
            <a:extLst>
              <a:ext uri="{FF2B5EF4-FFF2-40B4-BE49-F238E27FC236}">
                <a16:creationId xmlns:a16="http://schemas.microsoft.com/office/drawing/2014/main" id="{866A7BFF-99CD-9437-E86E-6132FB309B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48929" y="251769"/>
            <a:ext cx="9943071" cy="643572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8D7EFAF-A949-3F40-B6CE-D7D12634BD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356" y="2132919"/>
            <a:ext cx="6002494" cy="1128514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ts val="4400"/>
              </a:lnSpc>
              <a:buNone/>
              <a:defRPr sz="4200" b="0" i="0" spc="-50" baseline="0"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Secure AI-Driven Productivity Bootcamp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ECF730F-DA45-E656-902E-8D743973E8A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527356" y="532612"/>
            <a:ext cx="1065600" cy="228343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64F4844-97A6-4080-5544-13E46E7F48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356" y="3701143"/>
            <a:ext cx="4018471" cy="839921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ctr"/>
          <a:lstStyle>
            <a:lvl1pPr marL="0" indent="0" algn="l">
              <a:spcBef>
                <a:spcPts val="0"/>
              </a:spcBef>
              <a:buNone/>
              <a:defRPr sz="1800"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en-GB"/>
              <a:t>Speaker 1</a:t>
            </a:r>
          </a:p>
          <a:p>
            <a:pPr lvl="0"/>
            <a:r>
              <a:rPr lang="en-GB"/>
              <a:t>Title 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4835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28" y="574386"/>
            <a:ext cx="11185072" cy="498598"/>
          </a:xfrm>
        </p:spPr>
        <p:txBody>
          <a:bodyPr wrap="square" lIns="0" tIns="0" rIns="0" bIns="0" anchor="t">
            <a:spAutoFit/>
          </a:bodyPr>
          <a:lstStyle>
            <a:lvl1pPr>
              <a:defRPr sz="3600" b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8764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1541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svg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E70860-B881-5122-E137-8711CB0D6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574675"/>
            <a:ext cx="11185525" cy="6093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06F1A1-1586-42EF-9CA2-16F10CD83D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175" y="1698625"/>
            <a:ext cx="111855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253CED-08D6-692F-198E-233A1D7E91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1175" y="6229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2E2A91-B98C-49DE-8553-119ECA58152C}" type="datetimeFigureOut">
              <a:rPr lang="en-US" smtClean="0"/>
              <a:t>5/29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10BB91-0DF2-F86D-A282-C050CAF655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9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227534-F4D4-095D-03EE-12A9688346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53500" y="6229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7CA0B0-04EF-433A-8113-67BC344D39D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BAC4348-B8BB-E69B-E197-7B5B8B4EF1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 rot="5400000">
            <a:off x="10097704" y="2163762"/>
            <a:ext cx="5409405" cy="1081881"/>
          </a:xfrm>
          <a:prstGeom prst="rect">
            <a:avLst/>
          </a:prstGeom>
        </p:spPr>
      </p:pic>
    </p:spTree>
    <p:custDataLst>
      <p:tags r:id="rId5"/>
    </p:custDataLst>
    <p:extLst>
      <p:ext uri="{BB962C8B-B14F-4D97-AF65-F5344CB8AC3E}">
        <p14:creationId xmlns:p14="http://schemas.microsoft.com/office/powerpoint/2010/main" val="4075378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17" r:id="rId2"/>
    <p:sldLayoutId id="214748511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9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EAB218-CD8F-4598-5282-A631CEEEC5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274B804-E9FF-7EF7-C2B3-9FAEBA6CB7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V="1">
            <a:off x="6966857" y="3429000"/>
            <a:ext cx="5225143" cy="3429000"/>
          </a:xfrm>
          <a:prstGeom prst="rect">
            <a:avLst/>
          </a:prstGeom>
        </p:spPr>
      </p:pic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0A585A91-04F5-29EF-0E1A-8EE1A4AB96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4297" y="0"/>
            <a:ext cx="2939845" cy="6286500"/>
          </a:xfrm>
          <a:prstGeom prst="round2SameRect">
            <a:avLst>
              <a:gd name="adj1" fmla="val 0"/>
              <a:gd name="adj2" fmla="val 8696"/>
            </a:avLst>
          </a:prstGeom>
          <a:gradFill>
            <a:gsLst>
              <a:gs pos="0">
                <a:schemeClr val="accent4"/>
              </a:gs>
              <a:gs pos="100000">
                <a:schemeClr val="accent6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9" name="Rounded Rectangle 1">
            <a:extLst>
              <a:ext uri="{FF2B5EF4-FFF2-40B4-BE49-F238E27FC236}">
                <a16:creationId xmlns:a16="http://schemas.microsoft.com/office/drawing/2014/main" id="{B475A3D9-33D1-16A2-544B-B16F64559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650972" y="1036994"/>
            <a:ext cx="8045728" cy="5249506"/>
          </a:xfrm>
          <a:prstGeom prst="roundRect">
            <a:avLst>
              <a:gd name="adj" fmla="val 3421"/>
            </a:avLst>
          </a:prstGeom>
          <a:solidFill>
            <a:schemeClr val="bg1">
              <a:lumMod val="95000"/>
              <a:alpha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noProof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C8F7FF-B997-90D8-F897-76B69147D6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2606180"/>
            <a:ext cx="1928413" cy="1074140"/>
          </a:xfrm>
        </p:spPr>
        <p:txBody>
          <a:bodyPr wrap="none" lIns="88900" tIns="38100" rIns="88900" bIns="38100" anchor="b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vent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Agenda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CAB02ED-7C3B-DCAD-E347-5DA9DF3288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332307"/>
              </p:ext>
            </p:extLst>
          </p:nvPr>
        </p:nvGraphicFramePr>
        <p:xfrm>
          <a:off x="3650972" y="1036992"/>
          <a:ext cx="8045728" cy="5249508"/>
        </p:xfrm>
        <a:graphic>
          <a:graphicData uri="http://schemas.openxmlformats.org/drawingml/2006/table">
            <a:tbl>
              <a:tblPr firstRow="1" firstCol="1" bandRow="1">
                <a:effectLst/>
                <a:tableStyleId>{2D5ABB26-0587-4C30-8999-92F81FD0307C}</a:tableStyleId>
              </a:tblPr>
              <a:tblGrid>
                <a:gridCol w="921623">
                  <a:extLst>
                    <a:ext uri="{9D8B030D-6E8A-4147-A177-3AD203B41FA5}">
                      <a16:colId xmlns:a16="http://schemas.microsoft.com/office/drawing/2014/main" val="2425042780"/>
                    </a:ext>
                  </a:extLst>
                </a:gridCol>
                <a:gridCol w="1451783">
                  <a:extLst>
                    <a:ext uri="{9D8B030D-6E8A-4147-A177-3AD203B41FA5}">
                      <a16:colId xmlns:a16="http://schemas.microsoft.com/office/drawing/2014/main" val="3193638804"/>
                    </a:ext>
                  </a:extLst>
                </a:gridCol>
                <a:gridCol w="5672322">
                  <a:extLst>
                    <a:ext uri="{9D8B030D-6E8A-4147-A177-3AD203B41FA5}">
                      <a16:colId xmlns:a16="http://schemas.microsoft.com/office/drawing/2014/main" val="3290846685"/>
                    </a:ext>
                  </a:extLst>
                </a:gridCol>
              </a:tblGrid>
              <a:tr h="4772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0 mins</a:t>
                      </a:r>
                      <a:endParaRPr lang="en-GB" sz="1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91440" marB="91440" anchor="ctr">
                    <a:lnL w="6350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08:30 – 08:40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Welcome &amp; Kick off</a:t>
                      </a:r>
                    </a:p>
                  </a:txBody>
                  <a:tcPr marL="182880" marR="182880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</a:lnR>
                    <a:lnT w="6350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64502484"/>
                  </a:ext>
                </a:extLst>
              </a:tr>
              <a:tr h="4772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35 mins</a:t>
                      </a:r>
                      <a:endParaRPr lang="en-GB" sz="1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91440" marB="91440" anchor="ctr">
                    <a:lnL w="6350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08:40 – 09:15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 b="0" noProof="0">
                          <a:solidFill>
                            <a:schemeClr val="tx1"/>
                          </a:solidFill>
                          <a:latin typeface="+mn-lt"/>
                        </a:rPr>
                        <a:t>Copilot: What’s new &amp; the Art of Prompting</a:t>
                      </a:r>
                    </a:p>
                  </a:txBody>
                  <a:tcPr marL="182880" marR="182880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4253332"/>
                  </a:ext>
                </a:extLst>
              </a:tr>
              <a:tr h="4772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45 mins</a:t>
                      </a:r>
                      <a:endParaRPr lang="en-GB" sz="1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91440" marB="91440" anchor="ctr">
                    <a:lnL w="6350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09:15 – 10:00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Becoming a Frontier Firm with Copilot &amp; Agents</a:t>
                      </a:r>
                    </a:p>
                  </a:txBody>
                  <a:tcPr marL="182880" marR="182880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30478789"/>
                  </a:ext>
                </a:extLst>
              </a:tr>
              <a:tr h="4772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5 mins</a:t>
                      </a:r>
                    </a:p>
                  </a:txBody>
                  <a:tcPr marT="91440" marB="91440" anchor="ctr">
                    <a:lnL w="6350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0:00 – 10:15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 b="0" noProof="0">
                          <a:solidFill>
                            <a:schemeClr val="tx1"/>
                          </a:solidFill>
                          <a:latin typeface="+mn-lt"/>
                        </a:rPr>
                        <a:t>Coffee Break</a:t>
                      </a:r>
                    </a:p>
                  </a:txBody>
                  <a:tcPr marL="182880" marR="182880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176265"/>
                  </a:ext>
                </a:extLst>
              </a:tr>
              <a:tr h="4772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45 mins</a:t>
                      </a:r>
                    </a:p>
                  </a:txBody>
                  <a:tcPr marT="91440" marB="91440" anchor="ctr">
                    <a:lnL w="6350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0:15 – 11:00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latin typeface="+mn-lt"/>
                        </a:rPr>
                        <a:t>Hands-on Lab: Get Started With Agents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0" marR="182880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3338443"/>
                  </a:ext>
                </a:extLst>
              </a:tr>
              <a:tr h="4772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5 mins</a:t>
                      </a:r>
                    </a:p>
                  </a:txBody>
                  <a:tcPr marT="91440" marB="91440" anchor="ctr">
                    <a:lnL w="6350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1:00  – 11:15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 b="0" noProof="0">
                          <a:solidFill>
                            <a:schemeClr val="tx1"/>
                          </a:solidFill>
                          <a:latin typeface="+mn-lt"/>
                        </a:rPr>
                        <a:t>Hackathon Kickoff</a:t>
                      </a:r>
                    </a:p>
                  </a:txBody>
                  <a:tcPr marL="182880" marR="182880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9905857"/>
                  </a:ext>
                </a:extLst>
              </a:tr>
              <a:tr h="4772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45 mins</a:t>
                      </a:r>
                      <a:endParaRPr lang="en-GB" sz="1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91440" marB="91440" anchor="ctr">
                    <a:lnL w="6350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1:15 – 12:00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Hackathon Ideation</a:t>
                      </a:r>
                    </a:p>
                  </a:txBody>
                  <a:tcPr marL="182880" marR="182880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286359"/>
                  </a:ext>
                </a:extLst>
              </a:tr>
              <a:tr h="4772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60 mins</a:t>
                      </a:r>
                    </a:p>
                  </a:txBody>
                  <a:tcPr marT="91440" marB="91440" anchor="ctr">
                    <a:lnL w="6350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2:00 – 13:00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Lunch Break</a:t>
                      </a:r>
                    </a:p>
                  </a:txBody>
                  <a:tcPr marL="182880" marR="182880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4925527"/>
                  </a:ext>
                </a:extLst>
              </a:tr>
              <a:tr h="4772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45 mins</a:t>
                      </a:r>
                      <a:endParaRPr lang="en-GB" sz="1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91440" marB="91440" anchor="ctr">
                    <a:lnL w="6350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3:00 – 13:45</a:t>
                      </a:r>
                      <a:endParaRPr lang="en-GB" sz="1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Hackathon continued</a:t>
                      </a:r>
                    </a:p>
                  </a:txBody>
                  <a:tcPr marL="182880" marR="182880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0559784"/>
                  </a:ext>
                </a:extLst>
              </a:tr>
              <a:tr h="4772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60 mins</a:t>
                      </a:r>
                    </a:p>
                  </a:txBody>
                  <a:tcPr marT="91440" marB="91440" anchor="ctr">
                    <a:lnL w="6350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3:45 – 14:45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Team Presentations: Agents Showcase</a:t>
                      </a:r>
                    </a:p>
                  </a:txBody>
                  <a:tcPr marL="182880" marR="182880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32341210"/>
                  </a:ext>
                </a:extLst>
              </a:tr>
              <a:tr h="4772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5 mins</a:t>
                      </a:r>
                    </a:p>
                  </a:txBody>
                  <a:tcPr marT="91440" marB="91440" anchor="ctr">
                    <a:lnL w="6350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14:45 – 15:00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Winner Announcement &amp; Close</a:t>
                      </a:r>
                    </a:p>
                  </a:txBody>
                  <a:tcPr marL="182880" marR="182880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91293707"/>
                  </a:ext>
                </a:extLst>
              </a:tr>
            </a:tbl>
          </a:graphicData>
        </a:graphic>
      </p:graphicFrame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9BF16F7-A158-A4BC-9915-48D83DD5E10A}"/>
              </a:ext>
            </a:extLst>
          </p:cNvPr>
          <p:cNvSpPr txBox="1">
            <a:spLocks/>
          </p:cNvSpPr>
          <p:nvPr/>
        </p:nvSpPr>
        <p:spPr>
          <a:xfrm>
            <a:off x="3650972" y="289371"/>
            <a:ext cx="6816149" cy="56425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4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pPr>
            <a:r>
              <a:rPr lang="en-US" sz="4200" spc="-50" dirty="0">
                <a:ea typeface="+mn-ea"/>
                <a:cs typeface="Segoe UI Semibold" panose="020B0502040204020203" pitchFamily="34" charset="0"/>
              </a:rPr>
              <a:t>Copilot Agent Hackathon</a:t>
            </a:r>
          </a:p>
        </p:txBody>
      </p:sp>
    </p:spTree>
    <p:extLst>
      <p:ext uri="{BB962C8B-B14F-4D97-AF65-F5344CB8AC3E}">
        <p14:creationId xmlns:p14="http://schemas.microsoft.com/office/powerpoint/2010/main" val="2231249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AGENDA_DESIGNER" val="{&quot;Version&quot;:2,&quot;Divider1&quot;:{&quot;Titl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240.0,&quot;Top&quot;:216.0,&quot;Rotation&quot;:-1.0,&quot;CanManageSize&quot;:true,&quot;Width&quot;:700.0,&quot;Height&quot;:108.0,&quot;TextFrame2AutoSize&quot;:1,&quot;TextFrame2TextRangeFontName&quot;:&quot;&quot;,&quot;TextFrameMarginTop&quot;:0.0,&quot;TextFrameMarginLeft&quot;:0.0,&quot;TextFrameMarginRight&quot;:0.0,&quot;TextFrameMarginBottom&quot;:0.0,&quot;TextFrameWordWrap&quot;:-1,&quot;TextFrameTextRangeFontSize&quot;:30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1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Number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115.2,&quot;Top&quot;:216.0,&quot;Rotation&quot;:-1.0,&quot;CanManageSize&quot;:true,&quot;Width&quot;:81.0,&quot;Height&quot;:8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30.0,&quot;TextFrameTextRangeFontColorHexa&quot;:&quot;#FFFFFF&quot;,&quot;TextFrameTextRangeFontHighlightColorHexa&quot;:&quot;&quot;,&quot;TextFrameTextRangeFontBold&quot;:0,&quot;TextFrameTextRangeFontItalic&quot;:0,&quot;TextFrameTextRangeFontUnderline&quot;:0,&quot;TextFrameVerticalAnchor&quot;:3,&quot;TextFrameHorizontalAnchor&quot;:2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C5B4E3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true},&quot;Lin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240.0,&quot;Top&quot;:331.0,&quot;Rotation&quot;:-1.0,&quot;CanManageSize&quot;:true,&quot;Width&quot;:700.0,&quot;Height&quot;:0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0.0,&quot;LineVisible&quot;:-1,&quot;LineForeColorHexa&quot;:&quot;#C5B4E3&quot;,&quot;LineWeight&quot;:0.0,&quot;LineDashStyle&quot;:1,&quot;LineEndArrowheadStyle&quot;:1,&quot;LineBeginArrowheadStyle&quot;:1,&quot;ShouldSendToBack&quot;:false,&quot;NeedsApplyToAll&quot;:false},&quot;FontSizeShapeRatio&quot;:1.4},&quot;TableOfContent1&quot;:{&quot;MarginLeft&quot;:76.8,&quot;MarginRight&quot;:76.79999,&quot;MarginTop&quot;:86.4,&quot;MarginBottom&quot;:21.5999756,&quot;ShouldVerticalCenter&quot;:true,&quot;Titl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76.8,&quot;Top&quot;:54.0,&quot;Rotation&quot;:0.0,&quot;CanManageSize&quot;:true,&quot;Width&quot;:768.0,&quot;Height&quot;:30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32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SectionTitle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100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FFFFFF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100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100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},&quot;Back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C5B4E3&quot;,&quot;FillTransparency&quot;:0.0,&quot;LineVisible&quot;:0,&quot;LineForeColorHexa&quot;:null,&quot;LineWeight&quot;:0.0,&quot;LineDashStyle&quot;:1,&quot;LineEndArrowheadStyle&quot;:1,&quot;LineBeginArrowheadStyle&quot;:1,&quot;ShouldSendToBack&quot;:true,&quot;NeedsApplyToAll&quot;:false},&quot;Inactive&quot;:{&quot;AutoShapeType&quot;:1,&quot;CalloutType&quot;:1,&quot;CalloutAngle&quot;:2,&quot;CalloutGap&quot;:-3.40282347E+38,&quot;Visible&quot;:0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000000&quot;,&quot;FillTransparency&quot;:0.0,&quot;LineVisible&quot;:-1,&quot;LineForeColorHexa&quot;:null,&quot;LineWeight&quot;:0.0,&quot;LineDashStyle&quot;:1,&quot;LineEndArrowheadStyle&quot;:1,&quot;LineBeginArrowheadStyle&quot;:1,&quot;ShouldSendToBack&quot;:true,&quot;NeedsApplyToAll&quot;:false},&quot;CoverPage&quot;:{&quot;AutoShapeType&quot;:1,&quot;CalloutType&quot;:1,&quot;CalloutAngle&quot;:2,&quot;CalloutGap&quot;:-3.40282347E+38,&quot;Visible&quot;:0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000000&quot;,&quot;FillTransparency&quot;:0.0,&quot;LineVisible&quot;:-1,&quot;LineForeColorHexa&quot;:null,&quot;LineWeight&quot;:0.0,&quot;LineDashStyle&quot;:1,&quot;LineEndArrowheadStyle&quot;:1,&quot;LineBeginArrowheadStyle&quot;:1,&quot;ShouldSendToBack&quot;:true,&quot;NeedsApplyToAll&quot;:false}},&quot;Number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HighlightColorHexa&quot;:&quot;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C5B4E3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HighlightColorHexa&quot;:&quot;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D9D9D9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HighlightColorHexa&quot;:&quot;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C5B4E3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},&quot;SlideIndex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FontSizeShapeRatio&quot;:1.4},&quot;TableOfContent3&quot;:{&quot;MarginLeft&quot;:76.8,&quot;MarginRight&quot;:76.8,&quot;MarginTop&quot;:86.4,&quot;MarginBottom&quot;:21.6,&quot;ShouldVerticalCenter&quot;:true,&quot;Titl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76.8,&quot;Top&quot;:54.0,&quot;Rotation&quot;:0.0,&quot;CanManageSize&quot;:true,&quot;Width&quot;:768.0,&quot;Height&quot;:30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32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SectionTitle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Number&quot;:{&quot;Active&quot;:{&quot;AutoShapeType&quot;:9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HighlightColorHexa&quot;:&quot;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C5B4E3&quot;,&quot;FillTransparency&quot;:0.0,&quot;LineVisible&quot;:-1,&quot;LineForeColorHexa&quot;:&quot;#C5B4E3&quot;,&quot;LineWeight&quot;:2.0,&quot;LineDashStyle&quot;:1,&quot;LineEndArrowheadStyle&quot;:1,&quot;LineBeginArrowheadStyle&quot;:1,&quot;ShouldSendToBack&quot;:false,&quot;NeedsApplyToAll&quot;:false},&quot;Inactive&quot;:{&quot;AutoShapeType&quot;:9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C5B4E3&quot;,&quot;TextFrameTextRangeFontHighlightColorHexa&quot;:&quot;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FFFFFF&quot;,&quot;FillTransparency&quot;:0.0,&quot;LineVisible&quot;:-1,&quot;LineForeColorHexa&quot;:&quot;#C5B4E3&quot;,&quot;LineWeight&quot;:2.0,&quot;LineDashStyle&quot;:1,&quot;LineEndArrowheadStyle&quot;:1,&quot;LineBeginArrowheadStyle&quot;:1,&quot;ShouldSendToBack&quot;:false,&quot;NeedsApplyToAll&quot;:false},&quot;CoverPage&quot;:{&quot;AutoShapeType&quot;:9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HighlightColorHexa&quot;:&quot;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C5B4E3&quot;,&quot;FillTransparency&quot;:0.0,&quot;LineVisible&quot;:-1,&quot;LineForeColorHexa&quot;:&quot;#C5B4E3&quot;,&quot;LineWeight&quot;:2.0,&quot;LineDashStyle&quot;:1,&quot;LineEndArrowheadStyle&quot;:1,&quot;LineBeginArrowheadStyle&quot;:1,&quot;ShouldSendToBack&quot;:false,&quot;NeedsApplyToAll&quot;:false}},&quot;SlideIndex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Lin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0.0,&quot;LineVisible&quot;:-1,&quot;LineForeColorHexa&quot;:&quot;#C5B4E3&quot;,&quot;LineWeight&quot;:2.0,&quot;LineDashStyle&quot;:1,&quot;LineEndArrowheadStyle&quot;:1,&quot;LineBeginArrowheadStyle&quot;:1,&quot;ShouldSendToBack&quot;:true,&quot;NeedsApplyToAll&quot;:false},&quot;FontSizeShapeRatio&quot;:1.4},&quot;TableOfContent4&quot;:{&quot;MarginLeft&quot;:76.8,&quot;MarginRight&quot;:76.8,&quot;MarginTop&quot;:86.4,&quot;MarginBottom&quot;:21.6,&quot;ShouldVerticalCenter&quot;:true,&quot;Titl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76.8,&quot;Top&quot;:54.0,&quot;Rotation&quot;:0.0,&quot;CanManageSize&quot;:true,&quot;Width&quot;:768.0,&quot;Height&quot;:30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32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SectionTitle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Number&quot;:{&quot;Active&quot;:{&quot;AutoShapeType&quot;:9,&quot;CalloutType&quot;:1,&quot;CalloutAngle&quot;:2,&quot;CalloutGap&quot;:-3.40282347E+38,&quot;Visible&quot;:-1,&quot;LockAspectRatio&quot;:-1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HighlightColorHexa&quot;:&quot;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C5B4E3&quot;,&quot;FillTransparency&quot;:0.0,&quot;LineVisible&quot;:-1,&quot;LineForeColorHexa&quot;:&quot;#C5B4E3&quot;,&quot;LineWeight&quot;:2.0,&quot;LineDashStyle&quot;:1,&quot;LineEndArrowheadStyle&quot;:1,&quot;LineBeginArrowheadStyle&quot;:1,&quot;ShouldSendToBack&quot;:false,&quot;NeedsApplyToAll&quot;:false},&quot;Inactive&quot;:{&quot;AutoShapeType&quot;:9,&quot;CalloutType&quot;:1,&quot;CalloutAngle&quot;:2,&quot;CalloutGap&quot;:-3.40282347E+38,&quot;Visible&quot;:-1,&quot;LockAspectRatio&quot;:-1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C5B4E3&quot;,&quot;TextFrameTextRangeFontHighlightColorHexa&quot;:&quot;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FFFFFF&quot;,&quot;FillTransparency&quot;:0.0,&quot;LineVisible&quot;:-1,&quot;LineForeColorHexa&quot;:&quot;#C5B4E3&quot;,&quot;LineWeight&quot;:2.0,&quot;LineDashStyle&quot;:1,&quot;LineEndArrowheadStyle&quot;:1,&quot;LineBeginArrowheadStyle&quot;:1,&quot;ShouldSendToBack&quot;:false,&quot;NeedsApplyToAll&quot;:false},&quot;CoverPage&quot;:{&quot;AutoShapeType&quot;:9,&quot;CalloutType&quot;:1,&quot;CalloutAngle&quot;:2,&quot;CalloutGap&quot;:-3.40282347E+38,&quot;Visible&quot;:-1,&quot;LockAspectRatio&quot;:-1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HighlightColorHexa&quot;:&quot;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C5B4E3&quot;,&quot;FillTransparency&quot;:0.0,&quot;LineVisible&quot;:-1,&quot;LineForeColorHexa&quot;:&quot;#C5B4E3&quot;,&quot;LineWeight&quot;:2.0,&quot;LineDashStyle&quot;:1,&quot;LineEndArrowheadStyle&quot;:1,&quot;LineBeginArrowheadStyle&quot;:1,&quot;ShouldSendToBack&quot;:false,&quot;NeedsApplyToAll&quot;:false}},&quot;SlideIndex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Arc&quot;:{&quot;AutoShapeType&quot;:25,&quot;CalloutType&quot;:1,&quot;CalloutAngle&quot;:2,&quot;CalloutGap&quot;:-3.40282347E+38,&quot;Visible&quot;:-1,&quot;LockAspectRatio&quot;:0,&quot;CanUpdateAdjustments&quot;:fals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&quot;#000000&quot;,&quot;FillTransparency&quot;:0.0,&quot;LineVisible&quot;:-1,&quot;LineForeColorHexa&quot;:&quot;#C5B4E3&quot;,&quot;LineWeight&quot;:2.0,&quot;LineDashStyle&quot;:1,&quot;LineEndArrowheadStyle&quot;:1,&quot;LineBeginArrowheadStyle&quot;:1,&quot;ShouldSendToBack&quot;:true,&quot;NeedsApplyToAll&quot;:false},&quot;FontSizeShapeRatio&quot;:1.4},&quot;Breadcrumb&quot;:{&quot;ShapeDesign&quot;:{&quot;Active&quot;:{&quot;AutoShapeType&quot;:5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0.0,&quot;Top&quot;:0.0,&quot;Rotation&quot;:-1.0,&quot;CanManageSize&quot;:true,&quot;Width&quot;:0.0,&quot;Height&quot;:20.0,&quot;TextFrame2AutoSize&quot;:1,&quot;TextFrame2TextRangeFontName&quot;:&quot;&quot;,&quot;TextFrameMarginTop&quot;:0.0,&quot;TextFrameMarginLeft&quot;:20.0,&quot;TextFrameMarginRight&quot;:10.0,&quot;TextFrameMarginBottom&quot;:0.0,&quot;TextFrameWordWrap&quot;:0,&quot;TextFrameTextRangeFontSize&quot;:18.0,&quot;TextFrameTextRangeFontColorHexa&quot;:&quot;#FFFFFF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false,&quot;FillVisible&quot;:-1,&quot;FillForeColorHexa&quot;:&quot;#595959&quot;,&quot;FillTransparency&quot;:0.0,&quot;LineVisible&quot;:-1,&quot;LineForeColorHexa&quot;:&quot;#595959&quot;,&quot;LineWeight&quot;:1.0,&quot;LineDashStyle&quot;:1,&quot;LineEndArrowheadStyle&quot;:1,&quot;LineBeginArrowheadStyle&quot;:1,&quot;ShouldSendToBack&quot;:false,&quot;NeedsApplyToAll&quot;:false},&quot;Inactive&quot;:{&quot;AutoShapeType&quot;:5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0.0,&quot;Top&quot;:0.0,&quot;Rotation&quot;:-1.0,&quot;CanManageSize&quot;:true,&quot;Width&quot;:0.0,&quot;Height&quot;:20.0,&quot;TextFrame2AutoSize&quot;:1,&quot;TextFrame2TextRangeFontName&quot;:&quot;&quot;,&quot;TextFrameMarginTop&quot;:0.0,&quot;TextFrameMarginLeft&quot;:20.0,&quot;TextFrameMarginRight&quot;:10.0,&quot;TextFrameMarginBottom&quot;:0.0,&quot;TextFrameWordWrap&quot;:0,&quot;TextFrameTextRangeFontSize&quot;:18.0,&quot;TextFrameTextRangeFontColorHexa&quot;:&quot;#FFFFFF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false,&quot;FillVisible&quot;:-1,&quot;FillForeColorHexa&quot;:&quot;#D9D9D9&quot;,&quot;FillTransparency&quot;:0.0,&quot;LineVisible&quot;:-1,&quot;LineForeColorHexa&quot;:&quot;#595959&quot;,&quot;LineWeight&quot;:1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HighlightColorHexa&quot;:&quot;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000000&quot;,&quot;FillTransparency&quot;:0.0,&quot;LineVisible&quot;:-1,&quot;LineForeColorHexa&quot;:null,&quot;LineWeight&quot;:0.0,&quot;LineDashStyle&quot;:1,&quot;LineEndArrowheadStyle&quot;:1,&quot;LineBeginArrowheadStyle&quot;:1,&quot;ShouldSendToBack&quot;:false,&quot;NeedsApplyToAll&quot;:false}},&quot;LeftOffsetAfterFirstShape&quot;:-10.0,&quot;FontSizeShapeRatio&quot;:1.4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Copilot pallet">
      <a:dk1>
        <a:sysClr val="windowText" lastClr="000000"/>
      </a:dk1>
      <a:lt1>
        <a:sysClr val="window" lastClr="FFFFFF"/>
      </a:lt1>
      <a:dk2>
        <a:srgbClr val="091F2C"/>
      </a:dk2>
      <a:lt2>
        <a:srgbClr val="F4F3F5"/>
      </a:lt2>
      <a:accent1>
        <a:srgbClr val="C5B4E3"/>
      </a:accent1>
      <a:accent2>
        <a:srgbClr val="8661C5"/>
      </a:accent2>
      <a:accent3>
        <a:srgbClr val="463668"/>
      </a:accent3>
      <a:accent4>
        <a:srgbClr val="0078D4"/>
      </a:accent4>
      <a:accent5>
        <a:srgbClr val="2A446F"/>
      </a:accent5>
      <a:accent6>
        <a:srgbClr val="C03BC4"/>
      </a:accent6>
      <a:hlink>
        <a:srgbClr val="FFA38B"/>
      </a:hlink>
      <a:folHlink>
        <a:srgbClr val="FFE399"/>
      </a:folHlink>
    </a:clrScheme>
    <a:fontScheme name="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8D030735CA3E4B9C779C022532B7D5" ma:contentTypeVersion="14" ma:contentTypeDescription="Create a new document." ma:contentTypeScope="" ma:versionID="fb46fb654b1982a1ecfe9526ee4386e9">
  <xsd:schema xmlns:xsd="http://www.w3.org/2001/XMLSchema" xmlns:xs="http://www.w3.org/2001/XMLSchema" xmlns:p="http://schemas.microsoft.com/office/2006/metadata/properties" xmlns:ns1="http://schemas.microsoft.com/sharepoint/v3" xmlns:ns2="3d1eada8-68ad-46cb-8116-2c5023655792" xmlns:ns3="fc8b6be3-cf54-4fa6-9998-c5773e462a23" targetNamespace="http://schemas.microsoft.com/office/2006/metadata/properties" ma:root="true" ma:fieldsID="52d6bbea153fbca6513d6b7fb6f75a74" ns1:_="" ns2:_="" ns3:_="">
    <xsd:import namespace="http://schemas.microsoft.com/sharepoint/v3"/>
    <xsd:import namespace="3d1eada8-68ad-46cb-8116-2c5023655792"/>
    <xsd:import namespace="fc8b6be3-cf54-4fa6-9998-c5773e462a23"/>
    <xsd:element name="properties">
      <xsd:complexType>
        <xsd:sequence>
          <xsd:element name="documentManagement">
            <xsd:complexType>
              <xsd:all>
                <xsd:element ref="ns2:MediaServiceBillingMetadata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1eada8-68ad-46cb-8116-2c5023655792" elementFormDefault="qualified">
    <xsd:import namespace="http://schemas.microsoft.com/office/2006/documentManagement/types"/>
    <xsd:import namespace="http://schemas.microsoft.com/office/infopath/2007/PartnerControls"/>
    <xsd:element name="MediaServiceBillingMetadata" ma:index="8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8b6be3-cf54-4fa6-9998-c5773e462a23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d829337c-e1a2-4421-afae-f395efb0d9ec}" ma:internalName="TaxCatchAll" ma:showField="CatchAllData" ma:web="fc8b6be3-cf54-4fa6-9998-c5773e462a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d1eada8-68ad-46cb-8116-2c5023655792">
      <Terms xmlns="http://schemas.microsoft.com/office/infopath/2007/PartnerControls"/>
    </lcf76f155ced4ddcb4097134ff3c332f>
    <TaxCatchAll xmlns="fc8b6be3-cf54-4fa6-9998-c5773e462a23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76A9201-DD81-41A8-9F6B-D9DA27614B5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FFE47F-C6F2-479F-BFB6-3E96FC2BAFF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d1eada8-68ad-46cb-8116-2c5023655792"/>
    <ds:schemaRef ds:uri="fc8b6be3-cf54-4fa6-9998-c5773e462a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79E914F-36C6-4230-82D4-96BC2E731792}">
  <ds:schemaRefs>
    <ds:schemaRef ds:uri="http://schemas.microsoft.com/sharepoint/v3"/>
    <ds:schemaRef ds:uri="3d1eada8-68ad-46cb-8116-2c5023655792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elements/1.1/"/>
    <ds:schemaRef ds:uri="http://purl.org/dc/terms/"/>
    <ds:schemaRef ds:uri="http://schemas.openxmlformats.org/package/2006/metadata/core-properties"/>
    <ds:schemaRef ds:uri="fc8b6be3-cf54-4fa6-9998-c5773e462a23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9</Words>
  <Application>Microsoft Office PowerPoint</Application>
  <PresentationFormat>Widescreen</PresentationFormat>
  <Paragraphs>36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Event Agenda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t Hackathon - Internal Overview</dc:title>
  <dc:creator>Paula Costa</dc:creator>
  <cp:lastModifiedBy>Alicia Peterson (NAYAMODE INC)</cp:lastModifiedBy>
  <cp:revision>8</cp:revision>
  <dcterms:created xsi:type="dcterms:W3CDTF">2025-01-21T09:39:04Z</dcterms:created>
  <dcterms:modified xsi:type="dcterms:W3CDTF">2026-05-29T16:4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8D030735CA3E4B9C779C022532B7D5</vt:lpwstr>
  </property>
  <property fmtid="{D5CDD505-2E9C-101B-9397-08002B2CF9AE}" pid="3" name="Order">
    <vt:lpwstr>5578400.00000000</vt:lpwstr>
  </property>
  <property fmtid="{D5CDD505-2E9C-101B-9397-08002B2CF9AE}" pid="4" name="Size">
    <vt:lpwstr>204106908.000000</vt:lpwstr>
  </property>
  <property fmtid="{D5CDD505-2E9C-101B-9397-08002B2CF9AE}" pid="5" name="xd_ProgID">
    <vt:lpwstr/>
  </property>
  <property fmtid="{D5CDD505-2E9C-101B-9397-08002B2CF9AE}" pid="6" name="MediaServiceImageTags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xd_Signature">
    <vt:lpwstr/>
  </property>
</Properties>
</file>